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sldIdLst>
    <p:sldId id="1413" r:id="rId2"/>
    <p:sldId id="2237" r:id="rId3"/>
    <p:sldId id="2185" r:id="rId4"/>
    <p:sldId id="2226" r:id="rId5"/>
    <p:sldId id="2227" r:id="rId6"/>
    <p:sldId id="2228" r:id="rId7"/>
    <p:sldId id="2229" r:id="rId8"/>
    <p:sldId id="2230" r:id="rId9"/>
    <p:sldId id="2231" r:id="rId10"/>
    <p:sldId id="2232" r:id="rId11"/>
    <p:sldId id="2172" r:id="rId12"/>
    <p:sldId id="2235" r:id="rId13"/>
    <p:sldId id="2233" r:id="rId14"/>
  </p:sldIdLst>
  <p:sldSz cx="12192000" cy="6858000"/>
  <p:notesSz cx="6858000" cy="9144000"/>
  <p:custDataLst>
    <p:tags r:id="rId1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FFCC99"/>
    <a:srgbClr val="7191D1"/>
    <a:srgbClr val="B0C2E5"/>
    <a:srgbClr val="F2F2F2"/>
    <a:srgbClr val="CC99FF"/>
    <a:srgbClr val="FF9933"/>
    <a:srgbClr val="FF9966"/>
    <a:srgbClr val="FF6600"/>
    <a:srgbClr val="3153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6327" autoAdjust="0"/>
  </p:normalViewPr>
  <p:slideViewPr>
    <p:cSldViewPr snapToGrid="0">
      <p:cViewPr varScale="1">
        <p:scale>
          <a:sx n="68" d="100"/>
          <a:sy n="68" d="100"/>
        </p:scale>
        <p:origin x="724" y="56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421979426879203"/>
          <c:y val="0.15289779551144775"/>
          <c:w val="0.71169677772137596"/>
          <c:h val="0.7919788987481927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B$2:$B$13</c:f>
              <c:numCache>
                <c:formatCode>General</c:formatCode>
                <c:ptCount val="12"/>
                <c:pt idx="0">
                  <c:v>38.359433204410003</c:v>
                </c:pt>
                <c:pt idx="1">
                  <c:v>46.687234428723997</c:v>
                </c:pt>
                <c:pt idx="2">
                  <c:v>45.941737634633</c:v>
                </c:pt>
                <c:pt idx="3">
                  <c:v>40.506536326602003</c:v>
                </c:pt>
                <c:pt idx="5">
                  <c:v>37.247897875673999</c:v>
                </c:pt>
                <c:pt idx="6">
                  <c:v>36.771584670918003</c:v>
                </c:pt>
                <c:pt idx="7">
                  <c:v>37.461687625880003</c:v>
                </c:pt>
                <c:pt idx="8">
                  <c:v>37.923470498584003</c:v>
                </c:pt>
                <c:pt idx="9">
                  <c:v>38.461621299523003</c:v>
                </c:pt>
                <c:pt idx="10">
                  <c:v>38.363148530225999</c:v>
                </c:pt>
                <c:pt idx="11">
                  <c:v>38.686570421810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4B-4255-9B61-E6E850493DE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C$2:$C$13</c:f>
              <c:numCache>
                <c:formatCode>General</c:formatCode>
                <c:ptCount val="12"/>
                <c:pt idx="0">
                  <c:v>25.736305288364001</c:v>
                </c:pt>
                <c:pt idx="1">
                  <c:v>27.811980604314002</c:v>
                </c:pt>
                <c:pt idx="2">
                  <c:v>28.346112222950001</c:v>
                </c:pt>
                <c:pt idx="3">
                  <c:v>27.176840726961</c:v>
                </c:pt>
                <c:pt idx="5">
                  <c:v>24.390238514437002</c:v>
                </c:pt>
                <c:pt idx="6">
                  <c:v>24.963413599304999</c:v>
                </c:pt>
                <c:pt idx="7">
                  <c:v>24.968087075995999</c:v>
                </c:pt>
                <c:pt idx="8">
                  <c:v>24.775133355105002</c:v>
                </c:pt>
                <c:pt idx="9">
                  <c:v>24.163989389006002</c:v>
                </c:pt>
                <c:pt idx="10">
                  <c:v>24.314077386723</c:v>
                </c:pt>
                <c:pt idx="11">
                  <c:v>25.5673850402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64B-4255-9B61-E6E850493DE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D$2:$D$13</c:f>
              <c:numCache>
                <c:formatCode>General</c:formatCode>
                <c:ptCount val="12"/>
                <c:pt idx="0">
                  <c:v>0.85639048542999996</c:v>
                </c:pt>
                <c:pt idx="1">
                  <c:v>0.86187437580299997</c:v>
                </c:pt>
                <c:pt idx="2">
                  <c:v>0.87388366810100004</c:v>
                </c:pt>
                <c:pt idx="3">
                  <c:v>0.90432546599399999</c:v>
                </c:pt>
                <c:pt idx="5">
                  <c:v>0.71213396454099998</c:v>
                </c:pt>
                <c:pt idx="6">
                  <c:v>0.74576204805500002</c:v>
                </c:pt>
                <c:pt idx="7">
                  <c:v>0.770407593439</c:v>
                </c:pt>
                <c:pt idx="8">
                  <c:v>0.78135205747799996</c:v>
                </c:pt>
                <c:pt idx="9">
                  <c:v>0.77974290955100001</c:v>
                </c:pt>
                <c:pt idx="10">
                  <c:v>0.82885949874099996</c:v>
                </c:pt>
                <c:pt idx="11">
                  <c:v>0.890254421365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64B-4255-9B61-E6E850493DE0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E$2:$E$13</c:f>
              <c:numCache>
                <c:formatCode>General</c:formatCode>
                <c:ptCount val="12"/>
                <c:pt idx="0">
                  <c:v>14.421857229878</c:v>
                </c:pt>
                <c:pt idx="1">
                  <c:v>10.738684314296</c:v>
                </c:pt>
                <c:pt idx="2">
                  <c:v>11.018187953751999</c:v>
                </c:pt>
                <c:pt idx="3">
                  <c:v>14.283761975781999</c:v>
                </c:pt>
                <c:pt idx="5">
                  <c:v>13.826267588884001</c:v>
                </c:pt>
                <c:pt idx="6">
                  <c:v>14.969157762126001</c:v>
                </c:pt>
                <c:pt idx="7">
                  <c:v>14.798227118077</c:v>
                </c:pt>
                <c:pt idx="8">
                  <c:v>14.894948835183</c:v>
                </c:pt>
                <c:pt idx="9">
                  <c:v>14.234454140477</c:v>
                </c:pt>
                <c:pt idx="10">
                  <c:v>14.301315092366</c:v>
                </c:pt>
                <c:pt idx="11">
                  <c:v>13.7261197960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64B-4255-9B61-E6E850493DE0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Mají rezervaci termínu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F$2:$F$13</c:f>
              <c:numCache>
                <c:formatCode>General</c:formatCode>
                <c:ptCount val="12"/>
                <c:pt idx="0">
                  <c:v>1.7912912967E-2</c:v>
                </c:pt>
                <c:pt idx="1">
                  <c:v>1.7067503473000002E-2</c:v>
                </c:pt>
                <c:pt idx="2">
                  <c:v>1.7176936184E-2</c:v>
                </c:pt>
                <c:pt idx="3">
                  <c:v>1.8303786613999999E-2</c:v>
                </c:pt>
                <c:pt idx="5">
                  <c:v>6.9954220480000001E-3</c:v>
                </c:pt>
                <c:pt idx="6">
                  <c:v>7.9634984559999993E-3</c:v>
                </c:pt>
                <c:pt idx="7">
                  <c:v>1.1093629483E-2</c:v>
                </c:pt>
                <c:pt idx="8">
                  <c:v>9.9335945999999998E-3</c:v>
                </c:pt>
                <c:pt idx="9">
                  <c:v>1.012280179E-2</c:v>
                </c:pt>
                <c:pt idx="10">
                  <c:v>1.0060549905999999E-2</c:v>
                </c:pt>
                <c:pt idx="11">
                  <c:v>1.12488536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64B-4255-9B61-E6E850493DE0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Registrovaní, čekají na termín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G$2:$G$13</c:f>
              <c:numCache>
                <c:formatCode>General</c:formatCode>
                <c:ptCount val="12"/>
                <c:pt idx="0">
                  <c:v>0.51149449292299998</c:v>
                </c:pt>
                <c:pt idx="1">
                  <c:v>0.564310168823</c:v>
                </c:pt>
                <c:pt idx="2">
                  <c:v>0.56334718901900005</c:v>
                </c:pt>
                <c:pt idx="3">
                  <c:v>0.53907858442099998</c:v>
                </c:pt>
                <c:pt idx="5">
                  <c:v>0.24159978674999999</c:v>
                </c:pt>
                <c:pt idx="6">
                  <c:v>0.23929660115199999</c:v>
                </c:pt>
                <c:pt idx="7">
                  <c:v>0.264223269787</c:v>
                </c:pt>
                <c:pt idx="8">
                  <c:v>0.25208197256600001</c:v>
                </c:pt>
                <c:pt idx="9">
                  <c:v>0.29377663068600002</c:v>
                </c:pt>
                <c:pt idx="10">
                  <c:v>0.324777268349</c:v>
                </c:pt>
                <c:pt idx="11">
                  <c:v>0.318073927633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64B-4255-9B61-E6E850493DE0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H$2:$H$13</c:f>
              <c:numCache>
                <c:formatCode>General</c:formatCode>
                <c:ptCount val="12"/>
                <c:pt idx="0">
                  <c:v>20.096606386024</c:v>
                </c:pt>
                <c:pt idx="1">
                  <c:v>13.318848604565</c:v>
                </c:pt>
                <c:pt idx="2">
                  <c:v>13.239554395359001</c:v>
                </c:pt>
                <c:pt idx="3">
                  <c:v>16.571153133624001</c:v>
                </c:pt>
                <c:pt idx="5">
                  <c:v>23.574866847665</c:v>
                </c:pt>
                <c:pt idx="6">
                  <c:v>22.302821819986001</c:v>
                </c:pt>
                <c:pt idx="7">
                  <c:v>21.726273687336001</c:v>
                </c:pt>
                <c:pt idx="8">
                  <c:v>21.363079686479999</c:v>
                </c:pt>
                <c:pt idx="9">
                  <c:v>22.056292828964999</c:v>
                </c:pt>
                <c:pt idx="10">
                  <c:v>21.857761673687001</c:v>
                </c:pt>
                <c:pt idx="11">
                  <c:v>20.8003475392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64B-4255-9B61-E6E850493D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3.5432621546842079E-3"/>
          <c:y val="4.1173005736514182E-2"/>
          <c:w val="0.99538389239985303"/>
          <c:h val="4.5851399947898858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5-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2.963313863327997</c:v>
                </c:pt>
                <c:pt idx="1">
                  <c:v>91.745973046423998</c:v>
                </c:pt>
                <c:pt idx="2">
                  <c:v>81.805833037338004</c:v>
                </c:pt>
                <c:pt idx="3">
                  <c:v>78.189703824763001</c:v>
                </c:pt>
                <c:pt idx="4">
                  <c:v>72.495519191037999</c:v>
                </c:pt>
                <c:pt idx="5">
                  <c:v>64.236290118260996</c:v>
                </c:pt>
                <c:pt idx="6">
                  <c:v>67.109388306304993</c:v>
                </c:pt>
                <c:pt idx="7">
                  <c:v>22.524318829988999</c:v>
                </c:pt>
                <c:pt idx="8">
                  <c:v>75.942467081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9D-47E9-97C6-135EE347D81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5-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1.803828157469994</c:v>
                </c:pt>
                <c:pt idx="1">
                  <c:v>91.304996831596</c:v>
                </c:pt>
                <c:pt idx="2">
                  <c:v>81.551726927619001</c:v>
                </c:pt>
                <c:pt idx="3">
                  <c:v>77.802068758743999</c:v>
                </c:pt>
                <c:pt idx="4">
                  <c:v>72.044707296045999</c:v>
                </c:pt>
                <c:pt idx="5">
                  <c:v>63.499454233375999</c:v>
                </c:pt>
                <c:pt idx="6">
                  <c:v>66.143676624929995</c:v>
                </c:pt>
                <c:pt idx="7">
                  <c:v>22.130473577425001</c:v>
                </c:pt>
                <c:pt idx="8">
                  <c:v>75.361089408842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9D-47E9-97C6-135EE347D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87.549568246673005</c:v>
                </c:pt>
                <c:pt idx="1">
                  <c:v>91.558007229766005</c:v>
                </c:pt>
                <c:pt idx="2">
                  <c:v>81.654976155803993</c:v>
                </c:pt>
                <c:pt idx="3">
                  <c:v>76.337426240888007</c:v>
                </c:pt>
                <c:pt idx="4">
                  <c:v>70.067535770014999</c:v>
                </c:pt>
                <c:pt idx="5">
                  <c:v>59.523300898282997</c:v>
                </c:pt>
                <c:pt idx="6">
                  <c:v>60.325807541460001</c:v>
                </c:pt>
                <c:pt idx="7">
                  <c:v>21.641491779172998</c:v>
                </c:pt>
                <c:pt idx="8">
                  <c:v>73.001044480881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5D-4F82-B544-891C0F95F72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87.238261127376006</c:v>
                </c:pt>
                <c:pt idx="1">
                  <c:v>91.339310541781003</c:v>
                </c:pt>
                <c:pt idx="2">
                  <c:v>81.482675441034004</c:v>
                </c:pt>
                <c:pt idx="3">
                  <c:v>76.128080527593994</c:v>
                </c:pt>
                <c:pt idx="4">
                  <c:v>69.832233881820002</c:v>
                </c:pt>
                <c:pt idx="5">
                  <c:v>59.188981340055001</c:v>
                </c:pt>
                <c:pt idx="6">
                  <c:v>59.965920942461999</c:v>
                </c:pt>
                <c:pt idx="7">
                  <c:v>21.382284395831</c:v>
                </c:pt>
                <c:pt idx="8">
                  <c:v>72.744227638480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A5D-4F82-B544-891C0F95F7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89.041559135</c:v>
                </c:pt>
                <c:pt idx="1">
                  <c:v>91.741833034097994</c:v>
                </c:pt>
                <c:pt idx="2">
                  <c:v>81.806725830049004</c:v>
                </c:pt>
                <c:pt idx="3">
                  <c:v>77.347122393069</c:v>
                </c:pt>
                <c:pt idx="4">
                  <c:v>71.123295321615004</c:v>
                </c:pt>
                <c:pt idx="5">
                  <c:v>60.380728371144002</c:v>
                </c:pt>
                <c:pt idx="6">
                  <c:v>61.638944645065003</c:v>
                </c:pt>
                <c:pt idx="7">
                  <c:v>21.577234193675999</c:v>
                </c:pt>
                <c:pt idx="8">
                  <c:v>73.621570681660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0C-4258-B2E9-3390F07AA8C6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88.747886446560003</c:v>
                </c:pt>
                <c:pt idx="1">
                  <c:v>91.530818806732</c:v>
                </c:pt>
                <c:pt idx="2">
                  <c:v>81.634788923418</c:v>
                </c:pt>
                <c:pt idx="3">
                  <c:v>77.134322021046998</c:v>
                </c:pt>
                <c:pt idx="4">
                  <c:v>70.884055455348005</c:v>
                </c:pt>
                <c:pt idx="5">
                  <c:v>60.038648663156003</c:v>
                </c:pt>
                <c:pt idx="6">
                  <c:v>61.277825856466997</c:v>
                </c:pt>
                <c:pt idx="7">
                  <c:v>21.288011568904</c:v>
                </c:pt>
                <c:pt idx="8">
                  <c:v>73.350448745042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70C-4258-B2E9-3390F07AA8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1.753911752388007</c:v>
                </c:pt>
                <c:pt idx="1">
                  <c:v>91.799036301428998</c:v>
                </c:pt>
                <c:pt idx="2">
                  <c:v>81.815050588922006</c:v>
                </c:pt>
                <c:pt idx="3">
                  <c:v>77.602392574123996</c:v>
                </c:pt>
                <c:pt idx="4">
                  <c:v>71.209266312495998</c:v>
                </c:pt>
                <c:pt idx="5">
                  <c:v>60.63428491594</c:v>
                </c:pt>
                <c:pt idx="6">
                  <c:v>62.102203019149002</c:v>
                </c:pt>
                <c:pt idx="7">
                  <c:v>21.975528228403</c:v>
                </c:pt>
                <c:pt idx="8">
                  <c:v>74.007970773829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F6-40CB-8CD6-67928DF8B39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1.359881219781002</c:v>
                </c:pt>
                <c:pt idx="1">
                  <c:v>91.557714748397999</c:v>
                </c:pt>
                <c:pt idx="2">
                  <c:v>81.630531721867996</c:v>
                </c:pt>
                <c:pt idx="3">
                  <c:v>77.374723461038002</c:v>
                </c:pt>
                <c:pt idx="4">
                  <c:v>70.991303880805006</c:v>
                </c:pt>
                <c:pt idx="5">
                  <c:v>60.244260233780999</c:v>
                </c:pt>
                <c:pt idx="6">
                  <c:v>61.705339520990002</c:v>
                </c:pt>
                <c:pt idx="7">
                  <c:v>21.671931061976</c:v>
                </c:pt>
                <c:pt idx="8">
                  <c:v>73.735730891493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F6-40CB-8CD6-67928DF8B3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2.864254379141002</c:v>
                </c:pt>
                <c:pt idx="1">
                  <c:v>91.481135397198997</c:v>
                </c:pt>
                <c:pt idx="2">
                  <c:v>81.168379611123996</c:v>
                </c:pt>
                <c:pt idx="3">
                  <c:v>76.751513720101002</c:v>
                </c:pt>
                <c:pt idx="4">
                  <c:v>69.834235939202003</c:v>
                </c:pt>
                <c:pt idx="5">
                  <c:v>60.065465574504998</c:v>
                </c:pt>
                <c:pt idx="6">
                  <c:v>61.615071383015</c:v>
                </c:pt>
                <c:pt idx="7">
                  <c:v>21.204765590187002</c:v>
                </c:pt>
                <c:pt idx="8">
                  <c:v>73.846402354757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44-4C97-A806-76CD7E1DDB7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2.525123673812004</c:v>
                </c:pt>
                <c:pt idx="1">
                  <c:v>91.269873513717997</c:v>
                </c:pt>
                <c:pt idx="2">
                  <c:v>80.99863658017</c:v>
                </c:pt>
                <c:pt idx="3">
                  <c:v>76.533580967922006</c:v>
                </c:pt>
                <c:pt idx="4">
                  <c:v>69.59217985654</c:v>
                </c:pt>
                <c:pt idx="5">
                  <c:v>59.677264329270997</c:v>
                </c:pt>
                <c:pt idx="6">
                  <c:v>61.234361968305997</c:v>
                </c:pt>
                <c:pt idx="7">
                  <c:v>20.933300499542</c:v>
                </c:pt>
                <c:pt idx="8">
                  <c:v>73.56209219644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44-4C97-A806-76CD7E1DDB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2.427882537981006</c:v>
                </c:pt>
                <c:pt idx="1">
                  <c:v>91.114180824467994</c:v>
                </c:pt>
                <c:pt idx="2">
                  <c:v>80.912580412040995</c:v>
                </c:pt>
                <c:pt idx="3">
                  <c:v>76.416029698290004</c:v>
                </c:pt>
                <c:pt idx="4">
                  <c:v>69.595830633789006</c:v>
                </c:pt>
                <c:pt idx="5">
                  <c:v>59.459938683993002</c:v>
                </c:pt>
                <c:pt idx="6">
                  <c:v>61.950849747877001</c:v>
                </c:pt>
                <c:pt idx="7">
                  <c:v>20.898166897580001</c:v>
                </c:pt>
                <c:pt idx="8">
                  <c:v>73.164737409688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FC-4282-9746-C835D5D8CC23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2.066647078139994</c:v>
                </c:pt>
                <c:pt idx="1">
                  <c:v>90.846164818581997</c:v>
                </c:pt>
                <c:pt idx="2">
                  <c:v>80.699333009512998</c:v>
                </c:pt>
                <c:pt idx="3">
                  <c:v>76.155477928036007</c:v>
                </c:pt>
                <c:pt idx="4">
                  <c:v>69.291893745950006</c:v>
                </c:pt>
                <c:pt idx="5">
                  <c:v>59.020087855770001</c:v>
                </c:pt>
                <c:pt idx="6">
                  <c:v>61.498786074461002</c:v>
                </c:pt>
                <c:pt idx="7">
                  <c:v>20.587765107108002</c:v>
                </c:pt>
                <c:pt idx="8">
                  <c:v>72.830754562411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FC-4282-9746-C835D5D8CC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2.371305757588999</c:v>
                </c:pt>
                <c:pt idx="1">
                  <c:v>90.246802066867005</c:v>
                </c:pt>
                <c:pt idx="2">
                  <c:v>80.336611130924993</c:v>
                </c:pt>
                <c:pt idx="3">
                  <c:v>76.463499646046998</c:v>
                </c:pt>
                <c:pt idx="4">
                  <c:v>69.946034070896005</c:v>
                </c:pt>
                <c:pt idx="5">
                  <c:v>60.346643488929999</c:v>
                </c:pt>
                <c:pt idx="6">
                  <c:v>62.603217539863003</c:v>
                </c:pt>
                <c:pt idx="7">
                  <c:v>20.928149407022001</c:v>
                </c:pt>
                <c:pt idx="8">
                  <c:v>74.197477373891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23-4982-9BAE-718503394ED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1.987565629973005</c:v>
                </c:pt>
                <c:pt idx="1">
                  <c:v>90.023644116200998</c:v>
                </c:pt>
                <c:pt idx="2">
                  <c:v>80.106769020000002</c:v>
                </c:pt>
                <c:pt idx="3">
                  <c:v>76.164666338832006</c:v>
                </c:pt>
                <c:pt idx="4">
                  <c:v>69.634356855155005</c:v>
                </c:pt>
                <c:pt idx="5">
                  <c:v>59.847129198833997</c:v>
                </c:pt>
                <c:pt idx="6">
                  <c:v>62.084079075821002</c:v>
                </c:pt>
                <c:pt idx="7">
                  <c:v>20.611567509861999</c:v>
                </c:pt>
                <c:pt idx="8">
                  <c:v>73.846139320381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23-4982-9BAE-718503394E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4.588819407345994</c:v>
                </c:pt>
                <c:pt idx="1">
                  <c:v>90.863656459642002</c:v>
                </c:pt>
                <c:pt idx="2">
                  <c:v>80.665550055829996</c:v>
                </c:pt>
                <c:pt idx="3">
                  <c:v>76.522317947546995</c:v>
                </c:pt>
                <c:pt idx="4">
                  <c:v>72.297041073924007</c:v>
                </c:pt>
                <c:pt idx="5">
                  <c:v>64.782995618838001</c:v>
                </c:pt>
                <c:pt idx="6">
                  <c:v>68.460063413811</c:v>
                </c:pt>
                <c:pt idx="7">
                  <c:v>25.864271803712999</c:v>
                </c:pt>
                <c:pt idx="8">
                  <c:v>75.302053549093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4F-45D5-8906-2A772ED970B3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4.186594601387995</c:v>
                </c:pt>
                <c:pt idx="1">
                  <c:v>90.588778040481998</c:v>
                </c:pt>
                <c:pt idx="2">
                  <c:v>80.450560805292994</c:v>
                </c:pt>
                <c:pt idx="3">
                  <c:v>76.189117742150003</c:v>
                </c:pt>
                <c:pt idx="4">
                  <c:v>71.977149853190994</c:v>
                </c:pt>
                <c:pt idx="5">
                  <c:v>64.385382438845994</c:v>
                </c:pt>
                <c:pt idx="6">
                  <c:v>68.052452379393998</c:v>
                </c:pt>
                <c:pt idx="7">
                  <c:v>25.420610210418001</c:v>
                </c:pt>
                <c:pt idx="8">
                  <c:v>74.965871398268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4F-45D5-8906-2A772ED970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3.04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15673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45476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1953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5130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chart" Target="../charts/char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notesSlide" Target="../notesSlides/notesSlid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notesSlide" Target="../notesSlides/notesSlid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3840861"/>
            <a:ext cx="12192000" cy="195681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4400" dirty="0">
                <a:solidFill>
                  <a:schemeClr val="tx1"/>
                </a:solidFill>
              </a:rPr>
              <a:t>Průběh vakcinace k 3. 4. 2022</a:t>
            </a:r>
          </a:p>
          <a:p>
            <a:r>
              <a:rPr lang="cs-CZ" sz="4400" b="0" i="1" dirty="0">
                <a:solidFill>
                  <a:schemeClr val="tx1"/>
                </a:solidFill>
              </a:rPr>
              <a:t>Stručná prezentace shrnující analýzu dle velikosti sídel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4800" dirty="0"/>
              <a:t>Stav a vývoj epidemie COVID-19 </a:t>
            </a:r>
            <a:br>
              <a:rPr lang="cs-CZ" sz="4800" dirty="0"/>
            </a:br>
            <a:r>
              <a:rPr lang="cs-CZ" sz="4800" dirty="0"/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41898705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3. 4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100 000 a více obyvatel (2 382 465 obyvatel, 6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FE759F90-0394-4F8C-BD0E-26FAB632990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6814156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761CB2D4-BC7E-4C94-8AC8-F2AB1168D228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8F468458-0F79-403C-B5AA-486E3474AD18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34732572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1006744"/>
              </p:ext>
            </p:extLst>
          </p:nvPr>
        </p:nvGraphicFramePr>
        <p:xfrm>
          <a:off x="488230" y="1067328"/>
          <a:ext cx="11215540" cy="4795216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435096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Velikost obcí</a:t>
                      </a:r>
                      <a:endParaRPr lang="cs-CZ" sz="1400" b="1" i="0" u="sng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 k 1.1.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16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504853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6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6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 750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122 16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812 00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4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803 80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9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1.6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0 – 1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254 18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916 19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.1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906 62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9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3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00 – 4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98 06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807 61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.5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799 03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9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8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000 – 14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221 61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896 77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.4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887 06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9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6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000 – 39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164 26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850 27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840 91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9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2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 000 – 99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32 36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754 17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.1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745 37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8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2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 000 a více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985 52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 485 52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4.8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 468 44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9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4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noProof="0">
                          <a:effectLst/>
                        </a:rPr>
                        <a:t>neuvedeno</a:t>
                      </a:r>
                      <a:endParaRPr lang="cs-CZ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150 43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-  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144 16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5.8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-  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noProof="0">
                          <a:effectLst/>
                        </a:rPr>
                        <a:t>CELKEM</a:t>
                      </a:r>
                      <a:endParaRPr lang="cs-CZ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8 878 18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6 672 99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5.2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6 595 41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8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4.3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16 a více let – přehled podle velikosti obcí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>
                <a:solidFill>
                  <a:schemeClr val="bg1"/>
                </a:solidFill>
              </a:rPr>
              <a:t>Stav k </a:t>
            </a:r>
          </a:p>
          <a:p>
            <a:pPr algn="ctr"/>
            <a:r>
              <a:rPr lang="cs-CZ" sz="1600" b="1" dirty="0">
                <a:solidFill>
                  <a:schemeClr val="bg1"/>
                </a:solidFill>
              </a:rPr>
              <a:t>3. 4. 2022</a:t>
            </a:r>
          </a:p>
        </p:txBody>
      </p:sp>
    </p:spTree>
    <p:extLst>
      <p:ext uri="{BB962C8B-B14F-4D97-AF65-F5344CB8AC3E}">
        <p14:creationId xmlns:p14="http://schemas.microsoft.com/office/powerpoint/2010/main" val="20913175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4905133"/>
              </p:ext>
            </p:extLst>
          </p:nvPr>
        </p:nvGraphicFramePr>
        <p:xfrm>
          <a:off x="488230" y="1067328"/>
          <a:ext cx="11215540" cy="4795216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435096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Velikost obcí</a:t>
                      </a:r>
                      <a:endParaRPr lang="cs-CZ" sz="1400" b="1" i="0" u="sng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 k 1.1.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18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504853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8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8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 750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95 88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795 77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6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787 88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9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1.9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0 – 1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223 69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896 35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.3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887 17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9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5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00 – 4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71 97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790 61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.8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782 37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9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000 – 14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193 74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879 08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.6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869 71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9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9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000 – 39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139 00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834 23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.2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825 20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9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4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 000 – 99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10 60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740 41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.3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731 93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9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4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 000 a více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948 26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 458 92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4.9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 442 43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9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4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noProof="0">
                          <a:effectLst/>
                        </a:rPr>
                        <a:t>neuvedeno</a:t>
                      </a:r>
                      <a:endParaRPr lang="cs-CZ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148 33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-  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142 16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5.8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-  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noProof="0">
                          <a:effectLst/>
                        </a:rPr>
                        <a:t>CELKEM</a:t>
                      </a:r>
                      <a:endParaRPr lang="cs-CZ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8 683 16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6 543 73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5.4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6 468 89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9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4.5 % 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18 a více let – přehled podle velikosti obcí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>
                <a:solidFill>
                  <a:schemeClr val="bg1"/>
                </a:solidFill>
              </a:rPr>
              <a:t>Stav k </a:t>
            </a:r>
          </a:p>
          <a:p>
            <a:pPr algn="ctr"/>
            <a:r>
              <a:rPr lang="cs-CZ" sz="1600" b="1" dirty="0">
                <a:solidFill>
                  <a:schemeClr val="bg1"/>
                </a:solidFill>
              </a:rPr>
              <a:t>3. 4. 2022</a:t>
            </a:r>
          </a:p>
        </p:txBody>
      </p:sp>
    </p:spTree>
    <p:extLst>
      <p:ext uri="{BB962C8B-B14F-4D97-AF65-F5344CB8AC3E}">
        <p14:creationId xmlns:p14="http://schemas.microsoft.com/office/powerpoint/2010/main" val="3631949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C1581183-162D-4098-A69E-5FB86936AC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6718892"/>
              </p:ext>
            </p:extLst>
          </p:nvPr>
        </p:nvGraphicFramePr>
        <p:xfrm>
          <a:off x="1517005" y="1261913"/>
          <a:ext cx="10586736" cy="5510016"/>
        </p:xfrm>
        <a:graphic>
          <a:graphicData uri="http://schemas.openxmlformats.org/drawingml/2006/table">
            <a:tbl>
              <a:tblPr/>
              <a:tblGrid>
                <a:gridCol w="1176304">
                  <a:extLst>
                    <a:ext uri="{9D8B030D-6E8A-4147-A177-3AD203B41FA5}">
                      <a16:colId xmlns:a16="http://schemas.microsoft.com/office/drawing/2014/main" val="2407325004"/>
                    </a:ext>
                  </a:extLst>
                </a:gridCol>
                <a:gridCol w="1176304">
                  <a:extLst>
                    <a:ext uri="{9D8B030D-6E8A-4147-A177-3AD203B41FA5}">
                      <a16:colId xmlns:a16="http://schemas.microsoft.com/office/drawing/2014/main" val="2013545472"/>
                    </a:ext>
                  </a:extLst>
                </a:gridCol>
                <a:gridCol w="1176304">
                  <a:extLst>
                    <a:ext uri="{9D8B030D-6E8A-4147-A177-3AD203B41FA5}">
                      <a16:colId xmlns:a16="http://schemas.microsoft.com/office/drawing/2014/main" val="2236331083"/>
                    </a:ext>
                  </a:extLst>
                </a:gridCol>
                <a:gridCol w="1176304">
                  <a:extLst>
                    <a:ext uri="{9D8B030D-6E8A-4147-A177-3AD203B41FA5}">
                      <a16:colId xmlns:a16="http://schemas.microsoft.com/office/drawing/2014/main" val="2168684982"/>
                    </a:ext>
                  </a:extLst>
                </a:gridCol>
                <a:gridCol w="1176304">
                  <a:extLst>
                    <a:ext uri="{9D8B030D-6E8A-4147-A177-3AD203B41FA5}">
                      <a16:colId xmlns:a16="http://schemas.microsoft.com/office/drawing/2014/main" val="556288137"/>
                    </a:ext>
                  </a:extLst>
                </a:gridCol>
                <a:gridCol w="1176304">
                  <a:extLst>
                    <a:ext uri="{9D8B030D-6E8A-4147-A177-3AD203B41FA5}">
                      <a16:colId xmlns:a16="http://schemas.microsoft.com/office/drawing/2014/main" val="2579540205"/>
                    </a:ext>
                  </a:extLst>
                </a:gridCol>
                <a:gridCol w="1176304">
                  <a:extLst>
                    <a:ext uri="{9D8B030D-6E8A-4147-A177-3AD203B41FA5}">
                      <a16:colId xmlns:a16="http://schemas.microsoft.com/office/drawing/2014/main" val="1861415034"/>
                    </a:ext>
                  </a:extLst>
                </a:gridCol>
                <a:gridCol w="1176304">
                  <a:extLst>
                    <a:ext uri="{9D8B030D-6E8A-4147-A177-3AD203B41FA5}">
                      <a16:colId xmlns:a16="http://schemas.microsoft.com/office/drawing/2014/main" val="2695907527"/>
                    </a:ext>
                  </a:extLst>
                </a:gridCol>
                <a:gridCol w="1176304">
                  <a:extLst>
                    <a:ext uri="{9D8B030D-6E8A-4147-A177-3AD203B41FA5}">
                      <a16:colId xmlns:a16="http://schemas.microsoft.com/office/drawing/2014/main" val="1927294463"/>
                    </a:ext>
                  </a:extLst>
                </a:gridCol>
              </a:tblGrid>
              <a:tr h="344376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3276165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CD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8C4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C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ACA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5C8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1192772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08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3597552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6733108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10307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9553850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7822910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9C97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303377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535922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A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CCA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6676802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6665877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E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1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0346054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3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6267581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9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37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457358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2051929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7130666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lespoň 1 dávkou, věk 16 a více let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>
                <a:solidFill>
                  <a:schemeClr val="bg1"/>
                </a:solidFill>
              </a:rPr>
              <a:t>Stav k </a:t>
            </a:r>
          </a:p>
          <a:p>
            <a:pPr algn="ctr"/>
            <a:r>
              <a:rPr lang="cs-CZ" sz="1600" b="1" dirty="0">
                <a:solidFill>
                  <a:schemeClr val="bg1"/>
                </a:solidFill>
              </a:rPr>
              <a:t>3. 4. 2022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9CF1EBE3-09DA-405D-851E-6C6A4FA8FAC9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1366956"/>
              </p:ext>
            </p:extLst>
          </p:nvPr>
        </p:nvGraphicFramePr>
        <p:xfrm>
          <a:off x="88257" y="689550"/>
          <a:ext cx="12015486" cy="6082385"/>
        </p:xfrm>
        <a:graphic>
          <a:graphicData uri="http://schemas.openxmlformats.org/drawingml/2006/table">
            <a:tbl>
              <a:tblPr/>
              <a:tblGrid>
                <a:gridCol w="1428678">
                  <a:extLst>
                    <a:ext uri="{9D8B030D-6E8A-4147-A177-3AD203B41FA5}">
                      <a16:colId xmlns:a16="http://schemas.microsoft.com/office/drawing/2014/main" val="3142138702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1681493188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3844908053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3540180046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1318157054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1845873480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3830060361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2688662673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1853448349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3296446822"/>
                    </a:ext>
                  </a:extLst>
                </a:gridCol>
              </a:tblGrid>
              <a:tr h="173437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likost obc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128364"/>
                  </a:ext>
                </a:extLst>
              </a:tr>
              <a:tr h="3731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bydliště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 750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0 – 1 999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00 – 4 999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 – 14 999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000 – 39 999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000 – 99 999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000 a více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519303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5 588 / 1 111 28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09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5 588/1 111 280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6.0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351133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 702 / 269 901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.33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386 / 238 583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.96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 716 / 181 35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.80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 210 / 214 151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.48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361 / 172 733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05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815 / 57 258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52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7 190/1 133 984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8.2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60699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342 / 122 88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70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324 / 81 233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26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696 / 74 801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46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842 / 87 21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49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145 / 90 16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.80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814 / 78 45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97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 163/534 754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4.8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555380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180 / 95 664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32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218 / 75 834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81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157 / 90 927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96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092 / 65 00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44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929 / 18 737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34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563 / 146 90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90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 139/493 070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3.4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1103154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594 / 28 74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66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443 / 33 81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28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767 / 37 292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78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436 / 58 904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34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962 / 45 76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84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287 / 41 41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72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489/245 932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0.9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568410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613 / 80 98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61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745 / 79 53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87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151 / 62 37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39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753 / 101 988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37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466 / 140 16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10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801 / 212 267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93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 529/677 309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2.5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12257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734 / 49 17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63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053 / 46 31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36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728 / 53 96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76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260 / 61 961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43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034 / 68 258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84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514 / 85 82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01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 323/365 503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2.0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76870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947 / 104 00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06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481 / 72 43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45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663 / 44 45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47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728 / 118 98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73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279 / 41 695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02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721 / 77 63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.21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819/459 214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4.0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80054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241 / 101 154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43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188 / 73 13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36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146 / 48 03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16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643 / 115 80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23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652 / 19 160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47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122 / 76 882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30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 992/434 172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2.3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4666804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134 / 137 80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29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466 / 52 28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.40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306 / 58 32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.68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272 / 66 77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.28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084 / 66 47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.35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260 / 42 401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08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 522/424 066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7.2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101163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028 / 154 77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44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 173 / 176 82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49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510 / 143 17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30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418 / 92 63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78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525 / 103 96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68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363 / 319 416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94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2 017/990 788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2.8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218743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021 / 99 207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.55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517 / 102 87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.55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725 / 67 31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.92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910 / 78 81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.40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166 / 93 91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39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052 / 82 97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58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 391/525 104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9.0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146490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146 / 75 38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.85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303 / 98 51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.32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336 / 82 27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69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836 / 66 93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97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719 / 100 25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54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390 / 62 37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97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 730/485 727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0.3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802399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056 / 51 89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.55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330 / 121 09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64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239 / 135 87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10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976 / 105 31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24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695 / 147 61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.18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 928 / 196 35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73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444 / 239 13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02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 668/997 281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9.2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736442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150 43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50 43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61435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4 738/1 371 572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2.5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5 627/1 252 479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3.1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4 140/1 080 171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3.5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5 376/1 234 490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3.3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6 017/1 108 903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2.6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5 704/1 013 838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3.5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0 958/1 816 731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4.9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150 437 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72 997/8 878 184</a:t>
                      </a:r>
                      <a:b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2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1562237"/>
                  </a:ext>
                </a:extLst>
              </a:tr>
            </a:tbl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2281DE67-E341-4287-A491-FA5FF69EE8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057" y="554759"/>
            <a:ext cx="1533524" cy="3552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>
              <a:lnSpc>
                <a:spcPts val="1000"/>
              </a:lnSpc>
            </a:pPr>
            <a:r>
              <a:rPr lang="cs-CZ" sz="1000" b="1" dirty="0">
                <a:solidFill>
                  <a:srgbClr val="000000"/>
                </a:solidFill>
                <a:latin typeface="Calibri" panose="020F0502020204030204" pitchFamily="34" charset="0"/>
              </a:rPr>
              <a:t>Očkovaní / obyvatelstvo</a:t>
            </a:r>
            <a:br>
              <a:rPr lang="cs-CZ" sz="1000" b="1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r>
              <a:rPr lang="cs-CZ" sz="1000" b="1" dirty="0">
                <a:solidFill>
                  <a:srgbClr val="000000"/>
                </a:solidFill>
                <a:latin typeface="Calibri" panose="020F0502020204030204" pitchFamily="34" charset="0"/>
              </a:rPr>
              <a:t>(podíl %)</a:t>
            </a:r>
          </a:p>
        </p:txBody>
      </p:sp>
    </p:spTree>
    <p:extLst>
      <p:ext uri="{BB962C8B-B14F-4D97-AF65-F5344CB8AC3E}">
        <p14:creationId xmlns:p14="http://schemas.microsoft.com/office/powerpoint/2010/main" val="7036575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EA07EF69-E822-480B-8581-2B84270BBE6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589599"/>
              </p:ext>
            </p:extLst>
          </p:nvPr>
        </p:nvGraphicFramePr>
        <p:xfrm>
          <a:off x="133350" y="742950"/>
          <a:ext cx="11837679" cy="5789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40" y="2"/>
            <a:ext cx="6590560" cy="576000"/>
          </a:xfrm>
        </p:spPr>
        <p:txBody>
          <a:bodyPr/>
          <a:lstStyle/>
          <a:p>
            <a:r>
              <a:rPr lang="cs-CZ" dirty="0"/>
              <a:t>Stav očkování obyvatel v ČR k 3. 4. 2022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43DEB4E0-C2B7-4E1B-8422-D7FAF9E7D74B}"/>
              </a:ext>
            </a:extLst>
          </p:cNvPr>
          <p:cNvSpPr/>
          <p:nvPr/>
        </p:nvSpPr>
        <p:spPr>
          <a:xfrm>
            <a:off x="3190753" y="6554824"/>
            <a:ext cx="597631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Zdroj dat: Centrální rezervační systém; ISIN / COVID-19 - Informační systém infekční nemo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A16925BD-8B42-4997-8EF2-01B33424556B}"/>
              </a:ext>
            </a:extLst>
          </p:cNvPr>
          <p:cNvSpPr/>
          <p:nvPr/>
        </p:nvSpPr>
        <p:spPr>
          <a:xfrm>
            <a:off x="1928241" y="589194"/>
            <a:ext cx="86502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Osoby na 100 obyvatel (% populace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ACF933FC-AC8B-4DCF-85AE-AB663C3344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9678805"/>
              </p:ext>
            </p:extLst>
          </p:nvPr>
        </p:nvGraphicFramePr>
        <p:xfrm>
          <a:off x="10803138" y="1608754"/>
          <a:ext cx="1333315" cy="4601544"/>
        </p:xfrm>
        <a:graphic>
          <a:graphicData uri="http://schemas.openxmlformats.org/drawingml/2006/table">
            <a:tbl>
              <a:tblPr/>
              <a:tblGrid>
                <a:gridCol w="685800">
                  <a:extLst>
                    <a:ext uri="{9D8B030D-6E8A-4147-A177-3AD203B41FA5}">
                      <a16:colId xmlns:a16="http://schemas.microsoft.com/office/drawing/2014/main" val="2643709246"/>
                    </a:ext>
                  </a:extLst>
                </a:gridCol>
                <a:gridCol w="647515">
                  <a:extLst>
                    <a:ext uri="{9D8B030D-6E8A-4147-A177-3AD203B41FA5}">
                      <a16:colId xmlns:a16="http://schemas.microsoft.com/office/drawing/2014/main" val="1988768172"/>
                    </a:ext>
                  </a:extLst>
                </a:gridCol>
              </a:tblGrid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01 77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98468862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683 16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8741383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78 18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51730508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134 5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5677209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186940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8 0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4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547789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1 99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9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706972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34 09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4968834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9 76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60546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2 89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3168544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32 53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991601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82 46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0878997"/>
                  </a:ext>
                </a:extLst>
              </a:tr>
            </a:tbl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95E84E81-91E5-46C2-9381-CDCE4FF5644A}"/>
              </a:ext>
            </a:extLst>
          </p:cNvPr>
          <p:cNvSpPr/>
          <p:nvPr/>
        </p:nvSpPr>
        <p:spPr>
          <a:xfrm>
            <a:off x="10694639" y="1180677"/>
            <a:ext cx="960519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sz="11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yvatelstvo </a:t>
            </a:r>
          </a:p>
          <a:p>
            <a:pPr algn="ctr"/>
            <a:r>
              <a:rPr lang="cs-CZ" sz="11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1. 1. 2021</a:t>
            </a:r>
            <a:endParaRPr lang="cs-CZ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DE88B8D6-CC63-4A18-A0A2-C12CA14C6C9E}"/>
              </a:ext>
            </a:extLst>
          </p:cNvPr>
          <p:cNvSpPr/>
          <p:nvPr/>
        </p:nvSpPr>
        <p:spPr>
          <a:xfrm>
            <a:off x="11418668" y="3266652"/>
            <a:ext cx="76976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sz="11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čet obcí</a:t>
            </a:r>
            <a:endParaRPr lang="cs-CZ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E4438AD-C19F-4800-86E5-D99FB2280CA5}"/>
              </a:ext>
            </a:extLst>
          </p:cNvPr>
          <p:cNvSpPr/>
          <p:nvPr/>
        </p:nvSpPr>
        <p:spPr>
          <a:xfrm>
            <a:off x="22619" y="3253093"/>
            <a:ext cx="217912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ce podle počtu obyvatel</a:t>
            </a:r>
            <a:endParaRPr lang="cs-CZ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37893DC9-287B-4677-8B4C-245EDD1E1EDD}"/>
              </a:ext>
            </a:extLst>
          </p:cNvPr>
          <p:cNvSpPr/>
          <p:nvPr/>
        </p:nvSpPr>
        <p:spPr>
          <a:xfrm>
            <a:off x="240021" y="6179768"/>
            <a:ext cx="1171639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;</a:t>
            </a:r>
          </a:p>
          <a:p>
            <a:r>
              <a:rPr lang="cs-CZ" sz="1100" b="1" dirty="0">
                <a:solidFill>
                  <a:srgbClr val="FF0000"/>
                </a:solidFill>
              </a:rPr>
              <a:t>Prodělali onemocnění = osoby, které nebyly očkovány a ani nejsou přihlášeny k očkování a kdykoliv v minulosti prodělaly onemocnění COVID-19 podle dat ISIN.</a:t>
            </a:r>
          </a:p>
        </p:txBody>
      </p:sp>
    </p:spTree>
    <p:extLst>
      <p:ext uri="{BB962C8B-B14F-4D97-AF65-F5344CB8AC3E}">
        <p14:creationId xmlns:p14="http://schemas.microsoft.com/office/powerpoint/2010/main" val="31048650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3. 4. 2022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394D7A9E-99FA-4768-92F9-5B89BCF6149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3821192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8E059801-51AB-4C86-84F6-0A56BB1A9702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ovéPole 5">
            <a:extLst>
              <a:ext uri="{FF2B5EF4-FFF2-40B4-BE49-F238E27FC236}">
                <a16:creationId xmlns:a16="http://schemas.microsoft.com/office/drawing/2014/main" id="{4D3D046A-6B0A-4D22-B358-88584987FE47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Celkový přehled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54817B73-F049-4743-BDB2-57E1F37CB4C1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38593045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3. 4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do 750 obyvatel (1 358 031 obyvatel, 4 247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408961D1-DDD6-49A8-A978-9E283C04DC3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2487253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CDB5CBC3-FD57-43D3-AB0A-884EE3365B11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ABF4EE96-7434-418D-A305-0AB39405926D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2318520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3. 4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750 – 1 999 obyvatel (1 531 990 obyvatel, 1 294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1E7B9B15-9120-43B8-8524-207203EEEC6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8329431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51A14B2E-6869-4520-A387-7FB8A904021C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3D5DC57C-C7FC-4406-966F-D92D9D541138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25324864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3. 4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2 000 – 4 999 obyvatel (1 334 099 obyvatel, 441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27EEF3F1-2537-48F1-9061-D953A2F8D85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416594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B25FF770-62F5-4448-8585-88A6EBCB9787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4D50749A-2209-4E42-8A7E-E4F3F600337B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24434832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3. 4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5 000 – 14 999 obyvatel (1 469 760 obyvatel, 183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A0B4B87C-1D23-4D8D-AE42-0728CA7F11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3382094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6CE92ECA-B9DE-4168-B7B9-1383901EBE83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2859E773-1151-4C8A-A400-568BDDFDE906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35750296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3. 4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15 000 – 39 999 obyvatel (1 392 895 obyvatel, 63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E2FB9686-F02D-456D-AB30-60BC6CC6E24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030592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318C09F0-916B-4408-B222-363E03AF4EE8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506DB690-38B5-477D-BD3A-14180D26F01F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19841576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3. 4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40 000 – 99 999 obyvatel (1 232 537 obyvatel, 20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661B8D42-163F-4396-880D-44BDAB1F290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781698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64943663-80F7-4830-8580-68DFB365379E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10CC488C-1A0D-454F-B997-A65B0B8067F5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24229851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905</TotalTime>
  <Words>2119</Words>
  <Application>Microsoft Office PowerPoint</Application>
  <PresentationFormat>Širokoúhlá obrazovka</PresentationFormat>
  <Paragraphs>343</Paragraphs>
  <Slides>13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2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3</vt:i4>
      </vt:variant>
    </vt:vector>
  </HeadingPairs>
  <TitlesOfParts>
    <vt:vector size="16" baseType="lpstr">
      <vt:lpstr>Arial</vt:lpstr>
      <vt:lpstr>Calibri</vt:lpstr>
      <vt:lpstr>Motiv Office</vt:lpstr>
      <vt:lpstr>Prezentace aplikace PowerPoint</vt:lpstr>
      <vt:lpstr>Stav očkování obyvatel v ČR k 3. 4. 2022</vt:lpstr>
      <vt:lpstr>Zájem o očkování, stav k 3. 4. 2022</vt:lpstr>
      <vt:lpstr>Zájem o očkování, stav k 3. 4. 2022</vt:lpstr>
      <vt:lpstr>Zájem o očkování, stav k 3. 4. 2022</vt:lpstr>
      <vt:lpstr>Zájem o očkování, stav k 3. 4. 2022</vt:lpstr>
      <vt:lpstr>Zájem o očkování, stav k 3. 4. 2022</vt:lpstr>
      <vt:lpstr>Zájem o očkování, stav k 3. 4. 2022</vt:lpstr>
      <vt:lpstr>Zájem o očkování, stav k 3. 4. 2022</vt:lpstr>
      <vt:lpstr>Zájem o očkování, stav k 3. 4. 2022</vt:lpstr>
      <vt:lpstr>Očkovaní 16 a více let – přehled podle velikosti obcí</vt:lpstr>
      <vt:lpstr>Očkovaní 18 a více let – přehled podle velikosti obcí</vt:lpstr>
      <vt:lpstr>Očkovaní alespoň 1 dávkou, věk 16 a více le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enšíková Kateřina Bc.</cp:lastModifiedBy>
  <cp:revision>609</cp:revision>
  <dcterms:created xsi:type="dcterms:W3CDTF">2020-11-14T10:09:00Z</dcterms:created>
  <dcterms:modified xsi:type="dcterms:W3CDTF">2022-04-03T06:45:34Z</dcterms:modified>
</cp:coreProperties>
</file>